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80" r:id="rId2"/>
    <p:sldMasterId id="2147483697" r:id="rId3"/>
    <p:sldMasterId id="2147483703" r:id="rId4"/>
    <p:sldMasterId id="2147483709" r:id="rId5"/>
  </p:sldMasterIdLst>
  <p:notesMasterIdLst>
    <p:notesMasterId r:id="rId9"/>
  </p:notesMasterIdLst>
  <p:handoutMasterIdLst>
    <p:handoutMasterId r:id="rId10"/>
  </p:handoutMasterIdLst>
  <p:sldIdLst>
    <p:sldId id="572" r:id="rId6"/>
    <p:sldId id="2506" r:id="rId7"/>
    <p:sldId id="8687" r:id="rId8"/>
  </p:sldIdLst>
  <p:sldSz cx="12192000" cy="6858000"/>
  <p:notesSz cx="7315200" cy="9601200"/>
  <p:custDataLst>
    <p:tags r:id="rId1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8" pos="387" userDrawn="1">
          <p15:clr>
            <a:srgbClr val="A4A3A4"/>
          </p15:clr>
        </p15:guide>
        <p15:guide id="9" pos="7333" userDrawn="1">
          <p15:clr>
            <a:srgbClr val="A4A3A4"/>
          </p15:clr>
        </p15:guide>
        <p15:guide id="10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Författare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BAD6"/>
    <a:srgbClr val="EBCFDD"/>
    <a:srgbClr val="F664AC"/>
    <a:srgbClr val="BFE4FF"/>
    <a:srgbClr val="F8E6FF"/>
    <a:srgbClr val="F60080"/>
    <a:srgbClr val="FFFFFF"/>
    <a:srgbClr val="FEDEED"/>
    <a:srgbClr val="C40064"/>
    <a:srgbClr val="E17F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1D1AB4-C70C-4EF3-B2B8-0C2076895C10}" v="8" dt="2020-11-25T13:52:23.9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696" y="48"/>
      </p:cViewPr>
      <p:guideLst>
        <p:guide orient="horz" pos="2160"/>
        <p:guide orient="horz" pos="935"/>
        <p:guide orient="horz" pos="3758"/>
        <p:guide orient="horz" pos="4247"/>
        <p:guide orient="horz" pos="300"/>
        <p:guide pos="3840"/>
        <p:guide pos="387"/>
        <p:guide pos="7333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19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F73C6-E6BF-46CF-B34D-7A5C8688DBEE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D8F730-40FB-45F5-B014-CB7ED569AE3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3712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EA4C71-A269-4800-8AF1-44182FA23438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31521" y="4560570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13758-4B63-40D7-B26B-F67CE25F1C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771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6105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-12-13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52353D-F306-481A-B3D0-C36CE0BF956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675815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vit logo för mörka bilder"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586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1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bg1"/>
                </a:solidFill>
              </a:rPr>
              <a:t>The </a:t>
            </a:r>
            <a:r>
              <a:rPr lang="sv-SE" sz="1000" b="1" noProof="0" err="1">
                <a:solidFill>
                  <a:schemeClr val="bg1"/>
                </a:solidFill>
              </a:rPr>
              <a:t>Capital</a:t>
            </a:r>
            <a:r>
              <a:rPr lang="sv-SE" sz="1000" b="1" noProof="0">
                <a:solidFill>
                  <a:schemeClr val="bg1"/>
                </a:solidFill>
              </a:rPr>
              <a:t> </a:t>
            </a:r>
            <a:r>
              <a:rPr lang="sv-SE" sz="1000" b="1" noProof="0" err="1">
                <a:solidFill>
                  <a:schemeClr val="bg1"/>
                </a:solidFill>
              </a:rPr>
              <a:t>of</a:t>
            </a:r>
            <a:r>
              <a:rPr lang="sv-SE" sz="1000" b="1" noProof="0">
                <a:solidFill>
                  <a:schemeClr val="bg1"/>
                </a:solidFill>
              </a:rPr>
              <a:t> Scandinavia</a:t>
            </a:r>
          </a:p>
        </p:txBody>
      </p:sp>
      <p:pic>
        <p:nvPicPr>
          <p:cNvPr id="8" name="Bildobjekt 7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9" name="textruta 8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1431766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709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1464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7948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Lil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5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7" name="Bildobjekt 6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499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Grö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0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859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Ros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88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183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Blå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032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36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89065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4124160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28080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8955557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35612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648579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40009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314117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svart logo för ljusa bil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81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0" name="Bildobjekt 9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7" name="textruta 6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963340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3064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46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34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25125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6189155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41687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6DCC6B-BF76-4BAC-AD6F-8E760EB9D4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928662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146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3A74ED-6CB8-4954-91F8-660A84B340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209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3018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7726583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804466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8498333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5110409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432840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8200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000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60124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 svart logo grå bakgrund">
    <p:bg>
      <p:bgPr>
        <a:solidFill>
          <a:srgbClr val="F5F3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170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40000"/>
            <a:ext cx="7305600" cy="1753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0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1" name="Bildobjekt 10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14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1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1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1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400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1" name="textruta 10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78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2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463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tx2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55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3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77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5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62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4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170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3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635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bred och text höger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11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7680000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8" hasCustomPrompt="1"/>
          </p:nvPr>
        </p:nvSpPr>
        <p:spPr>
          <a:xfrm>
            <a:off x="8496000" y="1440000"/>
            <a:ext cx="3086400" cy="4294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733256"/>
            <a:ext cx="76800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11" name="Platshållare för datum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2" name="Platshållare för sidfot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3" name="Platshållare för bildnumm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textruta 14"/>
          <p:cNvSpPr txBox="1"/>
          <p:nvPr userDrawn="1"/>
        </p:nvSpPr>
        <p:spPr>
          <a:xfrm>
            <a:off x="12288688" y="2348880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45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microsoft.com/office/2007/relationships/hdphoto" Target="../media/hdphoto1.wdp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6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16.bin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36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18.vml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18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4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2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52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26.vml"/><Relationship Id="rId11" Type="http://schemas.openxmlformats.org/officeDocument/2006/relationships/image" Target="../media/image2.emf"/><Relationship Id="rId5" Type="http://schemas.openxmlformats.org/officeDocument/2006/relationships/theme" Target="../theme/theme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26.bin"/><Relationship Id="rId1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7705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526" imgH="526" progId="TCLayout.ActiveDocument.1">
                  <p:embed/>
                </p:oleObj>
              </mc:Choice>
              <mc:Fallback>
                <p:oleObj name="think-cell Slide" r:id="rId21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10972800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4DA01AC-30FC-4403-A622-D04A749E4F74}"/>
              </a:ext>
            </a:extLst>
          </p:cNvPr>
          <p:cNvSpPr txBox="1"/>
          <p:nvPr userDrawn="1"/>
        </p:nvSpPr>
        <p:spPr>
          <a:xfrm>
            <a:off x="0" y="0"/>
            <a:ext cx="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sv-SE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737FF0-8FCB-43FA-BC2F-BEA6C443D848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FEEA9991-6902-4557-9812-1FC3E116A2D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32FE3A5F-AE10-4FE6-8022-4243A5471999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87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6" r:id="rId3"/>
    <p:sldLayoutId id="2147483669" r:id="rId4"/>
    <p:sldLayoutId id="2147483657" r:id="rId5"/>
    <p:sldLayoutId id="2147483658" r:id="rId6"/>
    <p:sldLayoutId id="2147483659" r:id="rId7"/>
    <p:sldLayoutId id="2147483660" r:id="rId8"/>
    <p:sldLayoutId id="2147483668" r:id="rId9"/>
    <p:sldLayoutId id="2147483654" r:id="rId10"/>
    <p:sldLayoutId id="2147483655" r:id="rId11"/>
    <p:sldLayoutId id="2147483651" r:id="rId12"/>
    <p:sldLayoutId id="2147483661" r:id="rId13"/>
    <p:sldLayoutId id="2147483662" r:id="rId14"/>
    <p:sldLayoutId id="2147483663" r:id="rId15"/>
    <p:sldLayoutId id="2147483679" r:id="rId1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4502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9176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5804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24583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2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4114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4189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8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59048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25EAF3F-A0A1-4386-A9E1-65D39FF547D3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D541AC0D-5DB7-4E50-B572-74ABF07CCC6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48949403-0FFF-40B5-B5FC-45357ACBC0D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017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10" Type="http://schemas.microsoft.com/office/2007/relationships/hdphoto" Target="../media/hdphoto1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3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hyperlink" Target="https://smartstad.stockholm/odis/" TargetMode="External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ruta 5"/>
          <p:cNvSpPr txBox="1"/>
          <p:nvPr/>
        </p:nvSpPr>
        <p:spPr>
          <a:xfrm>
            <a:off x="542940" y="427908"/>
            <a:ext cx="6602626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sv-SE" sz="3200" b="1">
                <a:solidFill>
                  <a:srgbClr val="C40064"/>
                </a:solidFill>
              </a:rPr>
              <a:t>Inspirationslista redan publicerade datamängder</a:t>
            </a:r>
          </a:p>
          <a:p>
            <a:r>
              <a:rPr lang="sv-SE" sz="2000">
                <a:solidFill>
                  <a:srgbClr val="C40064"/>
                </a:solidFill>
              </a:rPr>
              <a:t>Publicerade av kommuner i Sverige</a:t>
            </a:r>
            <a:endParaRPr lang="sv-SE" sz="3200" b="1">
              <a:solidFill>
                <a:srgbClr val="C40064"/>
              </a:solidFill>
            </a:endParaRPr>
          </a:p>
          <a:p>
            <a:endParaRPr lang="sv-SE" sz="2000" b="1">
              <a:solidFill>
                <a:schemeClr val="tx2"/>
              </a:solidFill>
              <a:latin typeface="Arial" panose="020B0604020202020204" pitchFamily="34" charset="0"/>
              <a:ea typeface="Stockholm Type Regular" charset="0"/>
              <a:cs typeface="Arial" panose="020B0604020202020204" pitchFamily="34" charset="0"/>
            </a:endParaRPr>
          </a:p>
          <a:p>
            <a:r>
              <a:rPr lang="sv-SE" sz="2000" b="1">
                <a:solidFill>
                  <a:schemeClr val="tx2"/>
                </a:solidFill>
                <a:latin typeface="Arial" panose="020B0604020202020204" pitchFamily="34" charset="0"/>
                <a:ea typeface="Stockholm Type" charset="0"/>
                <a:cs typeface="Arial" panose="020B0604020202020204" pitchFamily="34" charset="0"/>
              </a:rPr>
              <a:t>ÖDIS - Ökad användning av öppna data i Stockholmsregionen</a:t>
            </a:r>
            <a:endParaRPr lang="sv-SE" sz="1400" b="1">
              <a:solidFill>
                <a:schemeClr val="tx2"/>
              </a:solidFill>
              <a:latin typeface="Arial" panose="020B0604020202020204" pitchFamily="34" charset="0"/>
              <a:ea typeface="Stockholm Type" charset="0"/>
              <a:cs typeface="Arial" panose="020B0604020202020204" pitchFamily="34" charset="0"/>
            </a:endParaRP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ADB51F3C-5150-4E2B-8565-72930DF9C918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3972" y="498509"/>
            <a:ext cx="844925" cy="835674"/>
          </a:xfrm>
          <a:prstGeom prst="rect">
            <a:avLst/>
          </a:prstGeom>
        </p:spPr>
      </p:pic>
      <p:pic>
        <p:nvPicPr>
          <p:cNvPr id="8" name="Picture 15">
            <a:extLst>
              <a:ext uri="{FF2B5EF4-FFF2-40B4-BE49-F238E27FC236}">
                <a16:creationId xmlns:a16="http://schemas.microsoft.com/office/drawing/2014/main" id="{B12A0271-2572-480D-8E3B-AEE251CC737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8251" y="612969"/>
            <a:ext cx="1397782" cy="475762"/>
          </a:xfrm>
          <a:prstGeom prst="rect">
            <a:avLst/>
          </a:prstGeom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C24E5C5E-563A-40E6-87AB-B76B404CCF6E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0595" y="612969"/>
            <a:ext cx="1738814" cy="456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57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3769384"/>
              </p:ext>
            </p:extLst>
          </p:nvPr>
        </p:nvGraphicFramePr>
        <p:xfrm>
          <a:off x="2072980" y="644230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72980" y="644230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143000" y="642938"/>
            <a:ext cx="128984" cy="1289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742950">
              <a:spcBef>
                <a:spcPct val="0"/>
              </a:spcBef>
              <a:spcAft>
                <a:spcPct val="0"/>
              </a:spcAft>
            </a:pPr>
            <a:endParaRPr lang="sv-SE" sz="30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839316"/>
              </p:ext>
            </p:extLst>
          </p:nvPr>
        </p:nvGraphicFramePr>
        <p:xfrm>
          <a:off x="167527" y="1564956"/>
          <a:ext cx="11839594" cy="50707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8551">
                  <a:extLst>
                    <a:ext uri="{9D8B030D-6E8A-4147-A177-3AD203B41FA5}">
                      <a16:colId xmlns:a16="http://schemas.microsoft.com/office/drawing/2014/main" val="950240427"/>
                    </a:ext>
                  </a:extLst>
                </a:gridCol>
                <a:gridCol w="1705419">
                  <a:extLst>
                    <a:ext uri="{9D8B030D-6E8A-4147-A177-3AD203B41FA5}">
                      <a16:colId xmlns:a16="http://schemas.microsoft.com/office/drawing/2014/main" val="3620767270"/>
                    </a:ext>
                  </a:extLst>
                </a:gridCol>
                <a:gridCol w="1705419">
                  <a:extLst>
                    <a:ext uri="{9D8B030D-6E8A-4147-A177-3AD203B41FA5}">
                      <a16:colId xmlns:a16="http://schemas.microsoft.com/office/drawing/2014/main" val="1500906774"/>
                    </a:ext>
                  </a:extLst>
                </a:gridCol>
                <a:gridCol w="1867840">
                  <a:extLst>
                    <a:ext uri="{9D8B030D-6E8A-4147-A177-3AD203B41FA5}">
                      <a16:colId xmlns:a16="http://schemas.microsoft.com/office/drawing/2014/main" val="888472894"/>
                    </a:ext>
                  </a:extLst>
                </a:gridCol>
                <a:gridCol w="1786629">
                  <a:extLst>
                    <a:ext uri="{9D8B030D-6E8A-4147-A177-3AD203B41FA5}">
                      <a16:colId xmlns:a16="http://schemas.microsoft.com/office/drawing/2014/main" val="611509396"/>
                    </a:ext>
                  </a:extLst>
                </a:gridCol>
                <a:gridCol w="1686740">
                  <a:extLst>
                    <a:ext uri="{9D8B030D-6E8A-4147-A177-3AD203B41FA5}">
                      <a16:colId xmlns:a16="http://schemas.microsoft.com/office/drawing/2014/main" val="1363405904"/>
                    </a:ext>
                  </a:extLst>
                </a:gridCol>
                <a:gridCol w="1528996">
                  <a:extLst>
                    <a:ext uri="{9D8B030D-6E8A-4147-A177-3AD203B41FA5}">
                      <a16:colId xmlns:a16="http://schemas.microsoft.com/office/drawing/2014/main" val="1889669920"/>
                    </a:ext>
                  </a:extLst>
                </a:gridCol>
              </a:tblGrid>
              <a:tr h="26210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Befolkning &amp; samhälle</a:t>
                      </a:r>
                      <a:endParaRPr lang="sv-SE" sz="1600" b="1" noProof="0" dirty="0">
                        <a:effectLst/>
                        <a:latin typeface="Arial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Miljö</a:t>
                      </a:r>
                      <a:endParaRPr lang="sv-SE" sz="1600" b="1" noProof="0" dirty="0">
                        <a:effectLst/>
                        <a:latin typeface="Arial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Utbildning, kultur sport</a:t>
                      </a:r>
                      <a:endParaRPr lang="sv-SE" sz="1600" b="1" noProof="0" dirty="0">
                        <a:effectLst/>
                        <a:latin typeface="Arial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Region, Städer</a:t>
                      </a:r>
                      <a:endParaRPr lang="sv-SE" sz="1600" b="1" noProof="0" dirty="0">
                        <a:effectLst/>
                        <a:latin typeface="Arial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Transport</a:t>
                      </a:r>
                      <a:endParaRPr lang="sv-SE" sz="1600" b="1" noProof="0" dirty="0">
                        <a:effectLst/>
                        <a:latin typeface="Arial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Times New Roman" panose="02020603050405020304" pitchFamily="18" charset="0"/>
                          <a:cs typeface="Arial"/>
                        </a:rPr>
                        <a:t>Regeringen &amp; off. sektorn</a:t>
                      </a:r>
                      <a:endParaRPr lang="sv-SE" sz="1600" b="1" noProof="0" dirty="0">
                        <a:effectLst/>
                        <a:latin typeface="Arial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kern="1200" noProof="0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 panose="020B0604020202020204" pitchFamily="34" charset="0"/>
                          <a:cs typeface="Arial"/>
                        </a:rPr>
                        <a:t>Vetenskap &amp; Teknik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508827"/>
                  </a:ext>
                </a:extLst>
              </a:tr>
              <a:tr h="387851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Bergvärmepump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Ekologisk odlad åkermark, andel (%)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ibliotekens besöks- och </a:t>
                      </a:r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lånestatistik</a:t>
                      </a:r>
                      <a:endParaRPr lang="sv-SE" sz="1100" kern="1200" dirty="0">
                        <a:solidFill>
                          <a:schemeClr val="dk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360 graders panoramabild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ilflöde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E-tjänster användningsstatistik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E-tjänster användningsstatistik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296778"/>
                  </a:ext>
                </a:extLst>
              </a:tr>
              <a:tr h="310693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Bygglov beslu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Fiskevårdsområde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Historiska</a:t>
                      </a:r>
                      <a:r>
                        <a:rPr lang="sv-SE" dirty="0"/>
                        <a:t> 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objek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adplatser med Livräddningsutrustning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ilpool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nformationssäkerhetskrav vid upphandling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nformationssäkerhetskrav vid upphandling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89572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Bygglov handläggningstid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Fågeltor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kolmat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kern="1200" noProof="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kyddade byggnad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oendeparkeringszon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Kolada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kommunstatistik </a:t>
                      </a:r>
                      <a:endParaRPr lang="sv-SE" sz="1100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obilens täckningsgrad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024416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Bygglovsansökningar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Genomsnittlig körsträcka med personbil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polade isbano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efolkningsstatistik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ullerutredning eller trafikbuller via karttjäns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Kommnuens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kvalitetsredovisning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ensordata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143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Latrintömning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Miljöbilar andel av tot. Antal bilar (%)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tadskartor i </a:t>
                      </a:r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inecraf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taljplaner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kern="1200" noProof="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ykel - Lånecyklar positionering &amp; cykelställ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Leverantörsfakturo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Tillgång bredband  min. 100 Mbit/s, andel (%)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3282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Lediga jobb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Miljömålsuppfyllnad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Terrängkarta, </a:t>
                      </a:r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inecraf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rönarbild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ykelpump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Livsmedelsanläggningar, Livsmedelsverksamhet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Trafikkamero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673738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Lediga tomt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Naturreserva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andringsleder startpunkt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lygbild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ykleväg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kern="1200" noProof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ocialtjänst</a:t>
                      </a:r>
                      <a:endParaRPr lang="sv-SE" sz="1100" b="1" kern="1200" noProof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Trafikmätning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25141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Offentliga toalett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Radon hushållsmätning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andringsled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Kartor, höjdinformatio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otgängarmätning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Godkända Vård- och omsorgsboenden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erksamhetskritiska system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785849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Pulkabackar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Solkarta för placering av solcell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intersportanläggning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Naturreserva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ägarbete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Hemtjänst, godkända utförar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Wifi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GPS positioner där </a:t>
                      </a:r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openwifi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finns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5181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Wifi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 på offentliga plats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Strandskydd - gälland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ärdefulla kulturmiljö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Offentliga bryggor </a:t>
                      </a:r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Parkering för husvagn och husbil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utiker som erbjuder hemleverans till riskgrupp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Wifi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offentlig statistik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8533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Återvinningscentraler och -station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cs typeface="Arial"/>
                        </a:rPr>
                        <a:t>Vattennivå, grundvattennivå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Motionsspår och motionsyto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Polisstation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Parkering, betalzon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Jämförelsedata Servicehus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sv-SE" sz="1100" kern="120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92185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kern="1200" noProof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Hotell och vandrarhem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Parkering, Infartsparkering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Jämförelsedata Äldreboende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kern="1200" noProof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2439276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kern="1200" noProof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kern="1200" noProof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kern="1200" noProof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kern="1200" noProof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kern="1200" noProof="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2956141"/>
                  </a:ext>
                </a:extLst>
              </a:tr>
            </a:tbl>
          </a:graphicData>
        </a:graphic>
      </p:graphicFrame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535672" y="458791"/>
            <a:ext cx="11382687" cy="831600"/>
          </a:xfrm>
        </p:spPr>
        <p:txBody>
          <a:bodyPr>
            <a:noAutofit/>
          </a:bodyPr>
          <a:lstStyle/>
          <a:p>
            <a:r>
              <a:rPr lang="sv-SE">
                <a:solidFill>
                  <a:schemeClr val="tx2"/>
                </a:solidFill>
                <a:latin typeface="Arial"/>
                <a:cs typeface="Arial"/>
              </a:rPr>
              <a:t>Nedan finns ett urval av vad andra kommuner har publicerat för inspiration</a:t>
            </a:r>
          </a:p>
        </p:txBody>
      </p:sp>
    </p:spTree>
    <p:extLst>
      <p:ext uri="{BB962C8B-B14F-4D97-AF65-F5344CB8AC3E}">
        <p14:creationId xmlns:p14="http://schemas.microsoft.com/office/powerpoint/2010/main" val="22803325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3EA6D3-F397-4055-97F2-031420B98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3EA6D3-F397-4055-97F2-031420B98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9EE38D9-4DBE-48C4-80E2-14EB1BC6F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BD81298-249E-0B4B-BAF5-AF9E825D7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442" y="404664"/>
            <a:ext cx="10857725" cy="831600"/>
          </a:xfrm>
        </p:spPr>
        <p:txBody>
          <a:bodyPr/>
          <a:lstStyle/>
          <a:p>
            <a:r>
              <a:rPr lang="sv-SE" dirty="0">
                <a:solidFill>
                  <a:schemeClr val="bg1"/>
                </a:solidFill>
                <a:latin typeface="Arial"/>
                <a:cs typeface="Arial"/>
              </a:rPr>
              <a:t>Du hittar mer information och stödmaterial på ÖDIS hemsida</a:t>
            </a:r>
            <a:endParaRPr lang="sv-SE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48EA43-4FC6-4262-A55D-6FD20ABDD2E0}"/>
              </a:ext>
            </a:extLst>
          </p:cNvPr>
          <p:cNvSpPr txBox="1"/>
          <p:nvPr/>
        </p:nvSpPr>
        <p:spPr>
          <a:xfrm>
            <a:off x="522442" y="1984108"/>
            <a:ext cx="98978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ta material är framtaget av projektet Ökad användning av öppna data i Stockholmsregionen (ÖDIS), som var </a:t>
            </a:r>
            <a:r>
              <a:rPr kumimoji="0" lang="sv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gemensam satsning av samtliga 26 kommuner i kommunsamarbetet Storsthlm. Projektet pågick april 2018 – december 2020.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s mer om projektet och hitta mer stödmaterial likt detta på </a:t>
            </a:r>
            <a:r>
              <a:rPr kumimoji="0" lang="sv-S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rtstad.stockholm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kumimoji="0" lang="sv-S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dis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055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7167aa371da62cb12a661987a1bf5f35ea9b41"/>
  <p:tag name="DEFINEDWA" val="True"/>
  <p:tag name="TOP" val="207,4512"/>
  <p:tag name="LEFT" val="87,54456"/>
  <p:tag name="RIGHT" val="931,304"/>
  <p:tag name="BOTTOM" val="475,6342"/>
  <p:tag name="NUMBEREDHEADINGS" val="True"/>
  <p:tag name="USEWA" val="False"/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43900000000000005684E+00&quot;&gt;&lt;m_msothmcolidx val=&quot;0&quot;/&gt;&lt;m_rgb r=&quot;E9&quot; g=&quot;E9&quot; b=&quot;E9&quot;/&gt;&lt;m_nBrightness endver=&quot;26206&quot; val=&quot;0&quot;/&gt;&lt;/elem&gt;&lt;elem m_fUsage=&quot;1.60022790000000014743E+00&quot;&gt;&lt;m_msothmcolidx val=&quot;0&quot;/&gt;&lt;m_rgb r=&quot;FD&quot; g=&quot;B0&quot; b=&quot;D4&quot;/&gt;&lt;m_nBrightness endver=&quot;26206&quot; val=&quot;0&quot;/&gt;&lt;/elem&gt;&lt;elem m_fUsage=&quot;1.00000000000000000000E+00&quot;&gt;&lt;m_msothmcolidx val=&quot;0&quot;/&gt;&lt;m_rgb r=&quot;7F&quot; g=&quot;7F&quot; b=&quot;7F&quot;/&gt;&lt;m_nBrightness endver=&quot;26206&quot; val=&quot;0&quot;/&gt;&lt;/elem&gt;&lt;elem m_fUsage=&quot;6.56100000000000127542E-01&quot;&gt;&lt;m_msothmcolidx val=&quot;0&quot;/&gt;&lt;m_rgb r=&quot;FF&quot; g=&quot;43&quot; b=&quot;A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rhDKySJuLvX0TUyZ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v9aZE5RxGgm4S.Nxwv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PHlvAfSjmP.ZnzsV_8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z1oMKUTkqBm6r83sNU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4xATyCQbSxLp_BsAIr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0F0tNQo.0625ULKQW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.l5XZREq846WJoY5b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_JZT4QBiXi20FYEEp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Fv0J3rTt.tAaTP52De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d0rqW9C3yWggvL5ys9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7oO0zUT7qa18FEnvp31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fbF3HbLXNLmnQ9nk8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POdlK.SzGwjmTVJjntC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6K0JMt0lNvFjcq_LDw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SUA0W0Q9aYzaprKJlh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ZkiwlQSqfjoEauHztog"/>
</p:tagLst>
</file>

<file path=ppt/theme/theme1.xml><?xml version="1.0" encoding="utf-8"?>
<a:theme xmlns:a="http://schemas.openxmlformats.org/drawingml/2006/main" name="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2.xml><?xml version="1.0" encoding="utf-8"?>
<a:theme xmlns:a="http://schemas.openxmlformats.org/drawingml/2006/main" name="1_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3.xml><?xml version="1.0" encoding="utf-8"?>
<a:theme xmlns:a="http://schemas.openxmlformats.org/drawingml/2006/main" name="2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4.xml><?xml version="1.0" encoding="utf-8"?>
<a:theme xmlns:a="http://schemas.openxmlformats.org/drawingml/2006/main" name="3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5.xml><?xml version="1.0" encoding="utf-8"?>
<a:theme xmlns:a="http://schemas.openxmlformats.org/drawingml/2006/main" name="4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4403875C19B554E97300495552BF047" ma:contentTypeVersion="2" ma:contentTypeDescription="Skapa ett nytt dokument." ma:contentTypeScope="" ma:versionID="baf6a617abdcbf6591584e531b9f04b9">
  <xsd:schema xmlns:xsd="http://www.w3.org/2001/XMLSchema" xmlns:xs="http://www.w3.org/2001/XMLSchema" xmlns:p="http://schemas.microsoft.com/office/2006/metadata/properties" xmlns:ns2="c2f02e10-a286-499b-b895-ad1ada1378fe" targetNamespace="http://schemas.microsoft.com/office/2006/metadata/properties" ma:root="true" ma:fieldsID="86c4e1993f17cea0bd30acaf46b9a9b9" ns2:_="">
    <xsd:import namespace="c2f02e10-a286-499b-b895-ad1ada1378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02e10-a286-499b-b895-ad1ada1378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425B722-B0D5-4344-B4D9-D3DC6D1F194C}"/>
</file>

<file path=customXml/itemProps2.xml><?xml version="1.0" encoding="utf-8"?>
<ds:datastoreItem xmlns:ds="http://schemas.openxmlformats.org/officeDocument/2006/customXml" ds:itemID="{D42726FD-A8B4-49C7-BD65-CD66EDA640ED}"/>
</file>

<file path=customXml/itemProps3.xml><?xml version="1.0" encoding="utf-8"?>
<ds:datastoreItem xmlns:ds="http://schemas.openxmlformats.org/officeDocument/2006/customXml" ds:itemID="{351C622F-69CA-4EA2-84DE-F78A09BA770B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3</Words>
  <Application>Microsoft Office PowerPoint</Application>
  <PresentationFormat>Bredbild</PresentationFormat>
  <Paragraphs>100</Paragraphs>
  <Slides>3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</vt:i4>
      </vt:variant>
    </vt:vector>
  </HeadingPairs>
  <TitlesOfParts>
    <vt:vector size="11" baseType="lpstr">
      <vt:lpstr>Arial</vt:lpstr>
      <vt:lpstr>Stockholm Type Regular</vt:lpstr>
      <vt:lpstr>Sthlm Presentation bred skärm</vt:lpstr>
      <vt:lpstr>1_Sthlm Presentation bred skärm</vt:lpstr>
      <vt:lpstr>2_Sthlm Presentation bred skärm</vt:lpstr>
      <vt:lpstr>3_Sthlm Presentation bred skärm</vt:lpstr>
      <vt:lpstr>4_Sthlm Presentation bred skärm</vt:lpstr>
      <vt:lpstr>think-cell Slide</vt:lpstr>
      <vt:lpstr>PowerPoint-presentation</vt:lpstr>
      <vt:lpstr>Nedan finns ett urval av vad andra kommuner har publicerat för inspiration</vt:lpstr>
      <vt:lpstr>Du hittar mer information och stödmaterial på ÖDIS hemsi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11-25T13:52:23Z</dcterms:created>
  <dcterms:modified xsi:type="dcterms:W3CDTF">2020-11-25T13:52:34Z</dcterms:modified>
  <cp:category/>
  <cp:contentStatus/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403875C19B554E97300495552BF047</vt:lpwstr>
  </property>
</Properties>
</file>